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8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7D95"/>
    <a:srgbClr val="24A2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F33F6F-1C4D-ED45-9F0A-72B074067BE1}" v="6" dt="2025-01-21T17:21:26.1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58" autoAdjust="0"/>
    <p:restoredTop sz="96053"/>
  </p:normalViewPr>
  <p:slideViewPr>
    <p:cSldViewPr snapToGrid="0">
      <p:cViewPr varScale="1">
        <p:scale>
          <a:sx n="122" d="100"/>
          <a:sy n="122" d="100"/>
        </p:scale>
        <p:origin x="62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82EB52-8445-451C-AD1F-47317019F5A8}" type="datetimeFigureOut">
              <a:rPr lang="fr-FR" smtClean="0"/>
              <a:t>15/1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B83799-FA89-4344-9DD9-822BA6F35F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1450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fr-FR" dirty="0"/>
              <a:t>Drop down change</a:t>
            </a:r>
          </a:p>
          <a:p>
            <a:pPr marL="228600" indent="-228600">
              <a:buAutoNum type="arabicPeriod"/>
            </a:pPr>
            <a:r>
              <a:rPr lang="fr-FR" dirty="0"/>
              <a:t>Change in « </a:t>
            </a:r>
            <a:r>
              <a:rPr lang="fr-FR" dirty="0" err="1"/>
              <a:t>Proceed</a:t>
            </a:r>
            <a:r>
              <a:rPr lang="fr-FR" dirty="0"/>
              <a:t> w/ follow up »</a:t>
            </a:r>
          </a:p>
          <a:p>
            <a:pPr marL="228600" indent="-228600">
              <a:buAutoNum type="arabicPeriod"/>
            </a:pPr>
            <a:r>
              <a:rPr lang="fr-FR" dirty="0"/>
              <a:t>Key Milestone changes and dates in DD/MM/YYYY format </a:t>
            </a:r>
            <a:r>
              <a:rPr lang="fr-FR" dirty="0" err="1"/>
              <a:t>only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C9FC9B-720F-4032-BD79-49C99566E467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4919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xec Summ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Image 83">
            <a:extLst>
              <a:ext uri="{FF2B5EF4-FFF2-40B4-BE49-F238E27FC236}">
                <a16:creationId xmlns:a16="http://schemas.microsoft.com/office/drawing/2014/main" id="{67B8B870-5E4E-08DC-3C11-B834CBE666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20000"/>
          </a:blip>
          <a:srcRect b="41653"/>
          <a:stretch/>
        </p:blipFill>
        <p:spPr>
          <a:xfrm>
            <a:off x="96983" y="1850401"/>
            <a:ext cx="11967770" cy="427519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BC46844-9494-4ECB-A284-AA26B904F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954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BC46844-9494-4ECB-A284-AA26B904F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33B0BD-65CA-40B9-9127-2BB9A9170A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1" i="0" baseline="0">
              <a:latin typeface="Archer Bold" panose="02000000000000000000" pitchFamily="50" charset="0"/>
              <a:ea typeface="+mj-ea"/>
              <a:cs typeface="Arial" panose="020B0604020202020204" pitchFamily="34" charset="0"/>
              <a:sym typeface="Archer Bold" panose="02000000000000000000" pitchFamily="50" charset="0"/>
            </a:endParaRPr>
          </a:p>
        </p:txBody>
      </p:sp>
      <p:sp>
        <p:nvSpPr>
          <p:cNvPr id="40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379679" y="2126392"/>
            <a:ext cx="7778899" cy="1167224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0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fr-FR" noProof="0" dirty="0"/>
              <a:t>Présentation détaillée</a:t>
            </a:r>
          </a:p>
        </p:txBody>
      </p:sp>
      <p:sp>
        <p:nvSpPr>
          <p:cNvPr id="49" name="Title 8"/>
          <p:cNvSpPr>
            <a:spLocks noGrp="1"/>
          </p:cNvSpPr>
          <p:nvPr>
            <p:ph type="title" hasCustomPrompt="1"/>
          </p:nvPr>
        </p:nvSpPr>
        <p:spPr>
          <a:xfrm>
            <a:off x="2870208" y="239195"/>
            <a:ext cx="3436697" cy="373453"/>
          </a:xfrm>
        </p:spPr>
        <p:txBody>
          <a:bodyPr vert="horz">
            <a:noAutofit/>
          </a:bodyPr>
          <a:lstStyle>
            <a:lvl1pPr rtl="0">
              <a:defRPr sz="18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r-FR" noProof="0" dirty="0"/>
              <a:t>&lt;Project Name&gt;</a:t>
            </a:r>
          </a:p>
        </p:txBody>
      </p:sp>
      <p:graphicFrame>
        <p:nvGraphicFramePr>
          <p:cNvPr id="29" name="Table 29">
            <a:extLst>
              <a:ext uri="{FF2B5EF4-FFF2-40B4-BE49-F238E27FC236}">
                <a16:creationId xmlns:a16="http://schemas.microsoft.com/office/drawing/2014/main" id="{7E5F598F-5FA9-424E-899C-EF65EF478C0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19392917"/>
              </p:ext>
            </p:extLst>
          </p:nvPr>
        </p:nvGraphicFramePr>
        <p:xfrm>
          <a:off x="8508954" y="5104972"/>
          <a:ext cx="3089379" cy="15860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062433">
                  <a:extLst>
                    <a:ext uri="{9D8B030D-6E8A-4147-A177-3AD203B41FA5}">
                      <a16:colId xmlns:a16="http://schemas.microsoft.com/office/drawing/2014/main" val="988322510"/>
                    </a:ext>
                  </a:extLst>
                </a:gridCol>
                <a:gridCol w="1026946">
                  <a:extLst>
                    <a:ext uri="{9D8B030D-6E8A-4147-A177-3AD203B41FA5}">
                      <a16:colId xmlns:a16="http://schemas.microsoft.com/office/drawing/2014/main" val="3188038872"/>
                    </a:ext>
                  </a:extLst>
                </a:gridCol>
              </a:tblGrid>
              <a:tr h="183720">
                <a:tc>
                  <a:txBody>
                    <a:bodyPr/>
                    <a:lstStyle/>
                    <a:p>
                      <a:pPr rtl="0"/>
                      <a:r>
                        <a:rPr lang="en-US" sz="1100" b="1" i="0" kern="1200" noProof="0" dirty="0" err="1">
                          <a:solidFill>
                            <a:srgbClr val="071A39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Jalons</a:t>
                      </a:r>
                      <a:r>
                        <a:rPr lang="en-US" sz="1100" b="1" i="0" kern="1200" noProof="0" dirty="0">
                          <a:solidFill>
                            <a:srgbClr val="071A39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 clefs du </a:t>
                      </a:r>
                      <a:r>
                        <a:rPr lang="en-US" sz="1100" b="1" i="0" kern="1200" noProof="0" dirty="0" err="1">
                          <a:solidFill>
                            <a:srgbClr val="071A39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projets</a:t>
                      </a:r>
                      <a:endParaRPr lang="en-US" sz="1100" b="1" i="0" kern="1200" noProof="0" dirty="0">
                        <a:solidFill>
                          <a:srgbClr val="071A39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100" b="1" i="0" kern="1200" noProof="0" dirty="0">
                          <a:solidFill>
                            <a:srgbClr val="071A39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        Dates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787788277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i="1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89300340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370780879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882865414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Neutraface Text Book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685303576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Neutraface Text Book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113884808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861246749"/>
                  </a:ext>
                </a:extLst>
              </a:tr>
            </a:tbl>
          </a:graphicData>
        </a:graphic>
      </p:graphicFrame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E1EC8415-23C1-44D4-828D-2006A68F65D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10563767" y="5334643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dd/mm/yyyy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0B04762A-0E51-412E-9F4B-EBEAE78773FA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10563767" y="5557553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dd/mm/yyyy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5E5B1B1B-5A7E-4A8A-B719-353BB04AAC0E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10563767" y="5780463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dd/mm/yyyy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02893B65-B2D2-4A32-91E1-058BEBA41472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10563767" y="6003373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dd/mm/yyyy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9F328D38-B745-45D5-A54C-D44B6E6AF36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10563767" y="6226283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dd/mm/yyyy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620F2A93-F3DE-4999-A7FD-B34BF8AD717B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10563767" y="6449193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dd/mm/yyyy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F34DC2A3-792A-2D64-22B7-227B6086484E}"/>
              </a:ext>
            </a:extLst>
          </p:cNvPr>
          <p:cNvSpPr txBox="1">
            <a:spLocks/>
          </p:cNvSpPr>
          <p:nvPr userDrawn="1"/>
        </p:nvSpPr>
        <p:spPr>
          <a:xfrm>
            <a:off x="6506640" y="218800"/>
            <a:ext cx="945410" cy="3756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/>
              </a:rPr>
              <a:t>Logo</a:t>
            </a:r>
            <a:endParaRPr lang="fr-FR" b="1" dirty="0"/>
          </a:p>
        </p:txBody>
      </p:sp>
      <p:graphicFrame>
        <p:nvGraphicFramePr>
          <p:cNvPr id="9" name="Table 29">
            <a:extLst>
              <a:ext uri="{FF2B5EF4-FFF2-40B4-BE49-F238E27FC236}">
                <a16:creationId xmlns:a16="http://schemas.microsoft.com/office/drawing/2014/main" id="{8F515838-2B8A-B25E-3A79-7ABFB2A0BE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12354546"/>
              </p:ext>
            </p:extLst>
          </p:nvPr>
        </p:nvGraphicFramePr>
        <p:xfrm>
          <a:off x="8537066" y="3206630"/>
          <a:ext cx="3089379" cy="15860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062433">
                  <a:extLst>
                    <a:ext uri="{9D8B030D-6E8A-4147-A177-3AD203B41FA5}">
                      <a16:colId xmlns:a16="http://schemas.microsoft.com/office/drawing/2014/main" val="988322510"/>
                    </a:ext>
                  </a:extLst>
                </a:gridCol>
                <a:gridCol w="1026946">
                  <a:extLst>
                    <a:ext uri="{9D8B030D-6E8A-4147-A177-3AD203B41FA5}">
                      <a16:colId xmlns:a16="http://schemas.microsoft.com/office/drawing/2014/main" val="3188038872"/>
                    </a:ext>
                  </a:extLst>
                </a:gridCol>
              </a:tblGrid>
              <a:tr h="183720">
                <a:tc>
                  <a:txBody>
                    <a:bodyPr/>
                    <a:lstStyle/>
                    <a:p>
                      <a:pPr rtl="0"/>
                      <a:r>
                        <a:rPr lang="en-US" sz="1100" b="1" i="0" kern="1200" noProof="0" dirty="0" err="1">
                          <a:solidFill>
                            <a:srgbClr val="071A39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L’équipe</a:t>
                      </a:r>
                      <a:endParaRPr lang="en-US" sz="1100" b="1" i="0" kern="1200" noProof="0" dirty="0">
                        <a:solidFill>
                          <a:srgbClr val="071A39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100" b="1" i="0" kern="1200" noProof="0" dirty="0">
                          <a:solidFill>
                            <a:srgbClr val="071A39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        </a:t>
                      </a:r>
                      <a:r>
                        <a:rPr lang="en-US" sz="1100" b="1" i="0" kern="1200" noProof="0" dirty="0" err="1">
                          <a:solidFill>
                            <a:srgbClr val="071A39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Rôle</a:t>
                      </a:r>
                      <a:endParaRPr lang="en-US" sz="1100" b="1" i="0" kern="1200" noProof="0" dirty="0">
                        <a:solidFill>
                          <a:srgbClr val="071A39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787788277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i="1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89300340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370780879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882865414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Neutraface Text Book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685303576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Neutraface Text Book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113884808"/>
                  </a:ext>
                </a:extLst>
              </a:tr>
              <a:tr h="183720">
                <a:tc>
                  <a:txBody>
                    <a:bodyPr/>
                    <a:lstStyle/>
                    <a:p>
                      <a:pPr rtl="0"/>
                      <a:endParaRPr lang="en-US" sz="10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861246749"/>
                  </a:ext>
                </a:extLst>
              </a:tr>
            </a:tbl>
          </a:graphicData>
        </a:graphic>
      </p:graphicFrame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EC528772-375C-7666-EA67-029693D67DA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10511982" y="3454056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té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9AD50F06-E94B-180C-E635-8206874A8D15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10511982" y="3676966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té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9EC87E22-0CE5-45D4-A8C4-804EC23DBA52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10511982" y="3899876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té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1CDFE883-73B0-557A-A9A3-6115BA4E4AC1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10511982" y="4122786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té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2BD0620B-E9A2-A05E-7932-FC16D407C80E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10511982" y="4345696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té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7350511E-C6AF-1638-3CB4-DAE2DCE844A4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10511982" y="4568606"/>
            <a:ext cx="1034566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fr-FR" sz="10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té</a:t>
            </a:r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id="{7372951F-C1E3-2F9D-4CF7-2EA260EF9C97}"/>
              </a:ext>
            </a:extLst>
          </p:cNvPr>
          <p:cNvSpPr txBox="1">
            <a:spLocks/>
          </p:cNvSpPr>
          <p:nvPr userDrawn="1"/>
        </p:nvSpPr>
        <p:spPr>
          <a:xfrm>
            <a:off x="754128" y="732408"/>
            <a:ext cx="1906213" cy="3734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/>
              </a:rPr>
              <a:t>Projet porté par </a:t>
            </a:r>
            <a:endParaRPr lang="fr-FR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648CF4CE-DB33-E8D6-3162-377834A02558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379679" y="1247503"/>
            <a:ext cx="7778899" cy="767728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400" i="1" u="non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r>
              <a:rPr lang="fr-FR" noProof="0" dirty="0"/>
              <a:t>Résumé du projet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6AE971EB-6FEB-B174-A774-8C71FAC399CA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8478176" y="1491448"/>
            <a:ext cx="3160450" cy="146481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400" i="1" u="non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endParaRPr lang="fr-FR" noProof="0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A73CA46-4B68-DEEC-857A-45A539D8F770}"/>
              </a:ext>
            </a:extLst>
          </p:cNvPr>
          <p:cNvSpPr txBox="1"/>
          <p:nvPr userDrawn="1"/>
        </p:nvSpPr>
        <p:spPr>
          <a:xfrm>
            <a:off x="312938" y="3357520"/>
            <a:ext cx="225270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La </a:t>
            </a:r>
            <a:r>
              <a:rPr lang="en-US" sz="1100" b="1" i="0" dirty="0" err="1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stratégie</a:t>
            </a:r>
            <a:r>
              <a:rPr lang="en-US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 </a:t>
            </a:r>
            <a:r>
              <a:rPr lang="en-US" sz="1100" b="1" i="0" dirty="0" err="1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commerciale</a:t>
            </a:r>
            <a:endParaRPr lang="fr-FR" sz="1100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FD34566-0D71-C4E3-8DFF-3A2257E8D71C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>
          <a:xfrm>
            <a:off x="4410141" y="3564569"/>
            <a:ext cx="3739560" cy="892017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0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endParaRPr lang="fr-FR" b="0" i="0" dirty="0">
              <a:solidFill>
                <a:srgbClr val="071A39"/>
              </a:solidFill>
              <a:effectLst/>
              <a:latin typeface="IBM Plex Sans" panose="020B0503050203000203" pitchFamily="34" charset="0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0C6336E-44FE-E7F7-5D04-8CDF9FDC97DD}"/>
              </a:ext>
            </a:extLst>
          </p:cNvPr>
          <p:cNvSpPr txBox="1"/>
          <p:nvPr userDrawn="1"/>
        </p:nvSpPr>
        <p:spPr>
          <a:xfrm>
            <a:off x="4343400" y="3357520"/>
            <a:ext cx="225270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La clientèle</a:t>
            </a:r>
            <a:endParaRPr lang="fr-FR" sz="1100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9E241F9C-990D-1537-3217-F49F49ACF425}"/>
              </a:ext>
            </a:extLst>
          </p:cNvPr>
          <p:cNvSpPr>
            <a:spLocks noGrp="1"/>
          </p:cNvSpPr>
          <p:nvPr>
            <p:ph type="body" sz="quarter" idx="119"/>
          </p:nvPr>
        </p:nvSpPr>
        <p:spPr>
          <a:xfrm>
            <a:off x="4410141" y="4683152"/>
            <a:ext cx="3739560" cy="892017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0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endParaRPr lang="fr-FR" b="0" i="0" dirty="0">
              <a:solidFill>
                <a:srgbClr val="071A39"/>
              </a:solidFill>
              <a:effectLst/>
              <a:latin typeface="IBM Plex Sans" panose="020B0503050203000203" pitchFamily="34" charset="0"/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3918999-7D84-4F71-C94D-C603DB1F79AE}"/>
              </a:ext>
            </a:extLst>
          </p:cNvPr>
          <p:cNvSpPr txBox="1"/>
          <p:nvPr userDrawn="1"/>
        </p:nvSpPr>
        <p:spPr>
          <a:xfrm>
            <a:off x="4343400" y="4484981"/>
            <a:ext cx="225270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Les avantages concurrentiels</a:t>
            </a:r>
            <a:endParaRPr lang="fr-FR" sz="1100" dirty="0"/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C6C6430A-EA7F-25DC-E10A-9174A0390E3F}"/>
              </a:ext>
            </a:extLst>
          </p:cNvPr>
          <p:cNvSpPr>
            <a:spLocks noGrp="1"/>
          </p:cNvSpPr>
          <p:nvPr>
            <p:ph type="body" sz="quarter" idx="120"/>
          </p:nvPr>
        </p:nvSpPr>
        <p:spPr>
          <a:xfrm>
            <a:off x="379679" y="5872760"/>
            <a:ext cx="3739560" cy="892017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0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endParaRPr lang="fr-FR" b="0" i="0" dirty="0">
              <a:solidFill>
                <a:srgbClr val="071A39"/>
              </a:solidFill>
              <a:effectLst/>
              <a:latin typeface="IBM Plex Sans" panose="020B0503050203000203" pitchFamily="34" charset="0"/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9FDB82BB-BF67-5D2E-2214-8F74C5A3CB0E}"/>
              </a:ext>
            </a:extLst>
          </p:cNvPr>
          <p:cNvSpPr txBox="1"/>
          <p:nvPr userDrawn="1"/>
        </p:nvSpPr>
        <p:spPr>
          <a:xfrm>
            <a:off x="312938" y="5656833"/>
            <a:ext cx="225270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Le </a:t>
            </a:r>
            <a:r>
              <a:rPr lang="en-US" sz="1100" b="1" i="0" dirty="0" err="1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financement</a:t>
            </a:r>
            <a:r>
              <a:rPr lang="en-US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 du </a:t>
            </a:r>
            <a:r>
              <a:rPr lang="en-US" sz="1100" b="1" i="0" dirty="0" err="1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projet</a:t>
            </a:r>
            <a:endParaRPr lang="fr-FR" sz="1100" dirty="0"/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112B210C-7F0D-2060-DAEC-AC5378FD60B7}"/>
              </a:ext>
            </a:extLst>
          </p:cNvPr>
          <p:cNvSpPr>
            <a:spLocks noGrp="1"/>
          </p:cNvSpPr>
          <p:nvPr>
            <p:ph type="body" sz="quarter" idx="121"/>
          </p:nvPr>
        </p:nvSpPr>
        <p:spPr>
          <a:xfrm>
            <a:off x="4410141" y="5872760"/>
            <a:ext cx="3739560" cy="892017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0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endParaRPr lang="fr-FR" b="0" i="0" dirty="0">
              <a:solidFill>
                <a:srgbClr val="071A39"/>
              </a:solidFill>
              <a:effectLst/>
              <a:latin typeface="IBM Plex Sans" panose="020B0503050203000203" pitchFamily="34" charset="0"/>
            </a:endParaRP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0D8C568F-0C4F-9788-A500-EE78F9FE8EA9}"/>
              </a:ext>
            </a:extLst>
          </p:cNvPr>
          <p:cNvSpPr txBox="1"/>
          <p:nvPr userDrawn="1"/>
        </p:nvSpPr>
        <p:spPr>
          <a:xfrm>
            <a:off x="4343400" y="5656833"/>
            <a:ext cx="225270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dirty="0" err="1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L’entreprise</a:t>
            </a:r>
            <a:r>
              <a:rPr lang="en-US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 dans 3 </a:t>
            </a:r>
            <a:r>
              <a:rPr lang="en-US" sz="1100" b="1" i="0" dirty="0" err="1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ans</a:t>
            </a:r>
            <a:r>
              <a:rPr lang="en-US" sz="11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 </a:t>
            </a:r>
            <a:endParaRPr lang="fr-FR" sz="1100" dirty="0"/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47CE7384-9651-AEC9-29A8-30964BE5571C}"/>
              </a:ext>
            </a:extLst>
          </p:cNvPr>
          <p:cNvSpPr txBox="1"/>
          <p:nvPr userDrawn="1"/>
        </p:nvSpPr>
        <p:spPr>
          <a:xfrm>
            <a:off x="8487052" y="1155861"/>
            <a:ext cx="33818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Le/les </a:t>
            </a:r>
            <a:r>
              <a:rPr lang="en-US" sz="1400" b="1" i="0" dirty="0" err="1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créateur</a:t>
            </a:r>
            <a:r>
              <a:rPr lang="en-US" sz="1400" b="1" i="0" dirty="0">
                <a:solidFill>
                  <a:srgbClr val="071A39"/>
                </a:solidFill>
                <a:effectLst/>
                <a:latin typeface="IBM Plex Sans" panose="020B0503050203000203" pitchFamily="34" charset="0"/>
              </a:rPr>
              <a:t>(s)</a:t>
            </a:r>
            <a:endParaRPr lang="fr-FR" sz="1400" noProof="0" dirty="0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A3E1C592-43B7-19ED-D599-1F9F4EDEC16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428082" y="203427"/>
            <a:ext cx="1671961" cy="406380"/>
          </a:xfrm>
          <a:prstGeom prst="rect">
            <a:avLst/>
          </a:prstGeom>
        </p:spPr>
      </p:pic>
      <p:pic>
        <p:nvPicPr>
          <p:cNvPr id="85" name="Image 84">
            <a:extLst>
              <a:ext uri="{FF2B5EF4-FFF2-40B4-BE49-F238E27FC236}">
                <a16:creationId xmlns:a16="http://schemas.microsoft.com/office/drawing/2014/main" id="{CF7E3CE9-7583-CAF0-AD6F-F4B59F5D67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43" t="58041" r="-243" b="-6523"/>
          <a:stretch/>
        </p:blipFill>
        <p:spPr>
          <a:xfrm>
            <a:off x="10206913" y="663790"/>
            <a:ext cx="1263034" cy="374902"/>
          </a:xfrm>
          <a:prstGeom prst="rect">
            <a:avLst/>
          </a:prstGeom>
        </p:spPr>
      </p:pic>
      <p:sp>
        <p:nvSpPr>
          <p:cNvPr id="88" name="ZoneTexte 87">
            <a:extLst>
              <a:ext uri="{FF2B5EF4-FFF2-40B4-BE49-F238E27FC236}">
                <a16:creationId xmlns:a16="http://schemas.microsoft.com/office/drawing/2014/main" id="{77E9A597-491A-0F78-333B-B01DA9DF99DA}"/>
              </a:ext>
            </a:extLst>
          </p:cNvPr>
          <p:cNvSpPr txBox="1"/>
          <p:nvPr userDrawn="1"/>
        </p:nvSpPr>
        <p:spPr>
          <a:xfrm rot="2002460">
            <a:off x="11277333" y="271516"/>
            <a:ext cx="761260" cy="430887"/>
          </a:xfrm>
          <a:prstGeom prst="rect">
            <a:avLst/>
          </a:prstGeom>
          <a:solidFill>
            <a:srgbClr val="24A2AF"/>
          </a:solidFill>
        </p:spPr>
        <p:txBody>
          <a:bodyPr wrap="square">
            <a:spAutoFit/>
          </a:bodyPr>
          <a:lstStyle/>
          <a:p>
            <a:pPr algn="ctr"/>
            <a:r>
              <a:rPr lang="en-US" sz="1050" b="1" i="0" dirty="0" err="1">
                <a:solidFill>
                  <a:schemeClr val="bg1"/>
                </a:solidFill>
                <a:effectLst/>
                <a:latin typeface="IBM Plex Sans" panose="020B0503050203000203" pitchFamily="34" charset="0"/>
              </a:rPr>
              <a:t>Édition</a:t>
            </a:r>
            <a:endParaRPr lang="en-US" sz="1050" b="1" i="0" dirty="0">
              <a:solidFill>
                <a:schemeClr val="bg1"/>
              </a:solidFill>
              <a:effectLst/>
              <a:latin typeface="IBM Plex Sans" panose="020B0503050203000203" pitchFamily="34" charset="0"/>
            </a:endParaRPr>
          </a:p>
          <a:p>
            <a:pPr algn="ctr"/>
            <a:r>
              <a:rPr lang="en-US" sz="1050" b="1" i="0" dirty="0">
                <a:solidFill>
                  <a:schemeClr val="bg1"/>
                </a:solidFill>
                <a:effectLst/>
                <a:latin typeface="IBM Plex Sans" panose="020B0503050203000203" pitchFamily="34" charset="0"/>
              </a:rPr>
              <a:t>2025</a:t>
            </a:r>
            <a:endParaRPr lang="fr-FR" sz="1050" dirty="0">
              <a:solidFill>
                <a:schemeClr val="bg1"/>
              </a:solidFill>
            </a:endParaRPr>
          </a:p>
        </p:txBody>
      </p:sp>
      <p:sp>
        <p:nvSpPr>
          <p:cNvPr id="90" name="ZoneTexte 89">
            <a:extLst>
              <a:ext uri="{FF2B5EF4-FFF2-40B4-BE49-F238E27FC236}">
                <a16:creationId xmlns:a16="http://schemas.microsoft.com/office/drawing/2014/main" id="{531E452A-4404-F803-8096-530E864ADA52}"/>
              </a:ext>
            </a:extLst>
          </p:cNvPr>
          <p:cNvSpPr txBox="1"/>
          <p:nvPr userDrawn="1"/>
        </p:nvSpPr>
        <p:spPr>
          <a:xfrm>
            <a:off x="9104048" y="680910"/>
            <a:ext cx="11230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0" i="0" dirty="0">
                <a:solidFill>
                  <a:srgbClr val="0F7D95"/>
                </a:solidFill>
                <a:effectLst/>
                <a:latin typeface="IBM Plex Sans" panose="020F0502020204030204" pitchFamily="34" charset="0"/>
              </a:rPr>
              <a:t>Organisé par</a:t>
            </a:r>
            <a:endParaRPr lang="fr-FR" sz="1200" dirty="0">
              <a:solidFill>
                <a:srgbClr val="0F7D95"/>
              </a:solidFill>
            </a:endParaRP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257F4725-4AF1-0F08-92AA-11F0672687BD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2879087" y="716319"/>
            <a:ext cx="3409025" cy="375633"/>
          </a:xfrm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60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fr-FR" dirty="0"/>
              <a:t>&lt;Nom &amp; prénom étudiant / </a:t>
            </a:r>
            <a:r>
              <a:rPr lang="fr-FR" dirty="0" err="1"/>
              <a:t>alumni</a:t>
            </a:r>
            <a:r>
              <a:rPr lang="fr-FR" dirty="0"/>
              <a:t>&gt;</a:t>
            </a:r>
          </a:p>
        </p:txBody>
      </p:sp>
      <p:sp>
        <p:nvSpPr>
          <p:cNvPr id="93" name="Title 8">
            <a:extLst>
              <a:ext uri="{FF2B5EF4-FFF2-40B4-BE49-F238E27FC236}">
                <a16:creationId xmlns:a16="http://schemas.microsoft.com/office/drawing/2014/main" id="{C3CB3EC5-150A-4270-4665-B264E85851CF}"/>
              </a:ext>
            </a:extLst>
          </p:cNvPr>
          <p:cNvSpPr txBox="1">
            <a:spLocks/>
          </p:cNvSpPr>
          <p:nvPr userDrawn="1"/>
        </p:nvSpPr>
        <p:spPr>
          <a:xfrm>
            <a:off x="47141" y="232772"/>
            <a:ext cx="2687811" cy="4114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fr-FR" sz="2000" b="1" dirty="0" err="1">
                <a:solidFill>
                  <a:schemeClr val="accent1">
                    <a:lumMod val="75000"/>
                  </a:schemeClr>
                </a:solidFill>
                <a:latin typeface="+mn-lt"/>
                <a:cs typeface="Arial"/>
              </a:rPr>
              <a:t>Executive</a:t>
            </a:r>
            <a:r>
              <a:rPr lang="fr-FR" sz="20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/>
              </a:rPr>
              <a:t> </a:t>
            </a:r>
            <a:r>
              <a:rPr lang="fr-FR" sz="2000" b="1" dirty="0" err="1">
                <a:solidFill>
                  <a:schemeClr val="accent1">
                    <a:lumMod val="75000"/>
                  </a:schemeClr>
                </a:solidFill>
                <a:latin typeface="+mn-lt"/>
                <a:cs typeface="Arial"/>
              </a:rPr>
              <a:t>Summary</a:t>
            </a:r>
            <a:endParaRPr lang="fr-FR" sz="2000" b="1" dirty="0"/>
          </a:p>
        </p:txBody>
      </p:sp>
      <p:sp>
        <p:nvSpPr>
          <p:cNvPr id="94" name="Text Placeholder 21">
            <a:extLst>
              <a:ext uri="{FF2B5EF4-FFF2-40B4-BE49-F238E27FC236}">
                <a16:creationId xmlns:a16="http://schemas.microsoft.com/office/drawing/2014/main" id="{1C914468-94AB-BC64-FB30-708DC8D36E07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8550017" y="3454056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m </a:t>
            </a:r>
            <a:r>
              <a:rPr lang="en-US" sz="1000" b="0" noProof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nom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5" name="Text Placeholder 21">
            <a:extLst>
              <a:ext uri="{FF2B5EF4-FFF2-40B4-BE49-F238E27FC236}">
                <a16:creationId xmlns:a16="http://schemas.microsoft.com/office/drawing/2014/main" id="{3D114EF1-0B15-5838-3D7C-7C995A4583C5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8550017" y="3676966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m </a:t>
            </a:r>
            <a:r>
              <a:rPr lang="en-US" sz="1000" b="0" noProof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nom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6" name="Text Placeholder 21">
            <a:extLst>
              <a:ext uri="{FF2B5EF4-FFF2-40B4-BE49-F238E27FC236}">
                <a16:creationId xmlns:a16="http://schemas.microsoft.com/office/drawing/2014/main" id="{0D6082BF-18C2-0038-0756-256651539C00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550017" y="3899876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m </a:t>
            </a:r>
            <a:r>
              <a:rPr lang="en-US" sz="1000" b="0" noProof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nom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7" name="Text Placeholder 21">
            <a:extLst>
              <a:ext uri="{FF2B5EF4-FFF2-40B4-BE49-F238E27FC236}">
                <a16:creationId xmlns:a16="http://schemas.microsoft.com/office/drawing/2014/main" id="{221B729D-3621-B486-922B-7BCCE2233BB2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8550017" y="4122786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m </a:t>
            </a:r>
            <a:r>
              <a:rPr lang="en-US" sz="1000" b="0" noProof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nom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8" name="Text Placeholder 21">
            <a:extLst>
              <a:ext uri="{FF2B5EF4-FFF2-40B4-BE49-F238E27FC236}">
                <a16:creationId xmlns:a16="http://schemas.microsoft.com/office/drawing/2014/main" id="{2988ED48-03F4-6E06-0C25-83077B921FF8}"/>
              </a:ext>
            </a:extLst>
          </p:cNvPr>
          <p:cNvSpPr>
            <a:spLocks noGrp="1"/>
          </p:cNvSpPr>
          <p:nvPr>
            <p:ph type="body" sz="quarter" idx="127" hasCustomPrompt="1"/>
          </p:nvPr>
        </p:nvSpPr>
        <p:spPr>
          <a:xfrm>
            <a:off x="8550017" y="4345696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m </a:t>
            </a:r>
            <a:r>
              <a:rPr lang="en-US" sz="1000" b="0" noProof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nom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9" name="Text Placeholder 21">
            <a:extLst>
              <a:ext uri="{FF2B5EF4-FFF2-40B4-BE49-F238E27FC236}">
                <a16:creationId xmlns:a16="http://schemas.microsoft.com/office/drawing/2014/main" id="{A4D87565-4930-F656-E16D-FC43ABE1AD03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8550017" y="4568606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m </a:t>
            </a:r>
            <a:r>
              <a:rPr lang="en-US" sz="1000" b="0" noProof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nom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F911B43F-E250-5818-B808-FD92EFB48295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8550017" y="5362755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lon 1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1" name="Text Placeholder 21">
            <a:extLst>
              <a:ext uri="{FF2B5EF4-FFF2-40B4-BE49-F238E27FC236}">
                <a16:creationId xmlns:a16="http://schemas.microsoft.com/office/drawing/2014/main" id="{3677DB15-D397-AEFE-308C-DA49D5716264}"/>
              </a:ext>
            </a:extLst>
          </p:cNvPr>
          <p:cNvSpPr>
            <a:spLocks noGrp="1"/>
          </p:cNvSpPr>
          <p:nvPr>
            <p:ph type="body" sz="quarter" idx="130" hasCustomPrompt="1"/>
          </p:nvPr>
        </p:nvSpPr>
        <p:spPr>
          <a:xfrm>
            <a:off x="8550017" y="5585665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lon 2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2" name="Text Placeholder 21">
            <a:extLst>
              <a:ext uri="{FF2B5EF4-FFF2-40B4-BE49-F238E27FC236}">
                <a16:creationId xmlns:a16="http://schemas.microsoft.com/office/drawing/2014/main" id="{2947AF25-1ABB-51DD-7C33-07206B729010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8550017" y="5808575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lon 3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3" name="Text Placeholder 21">
            <a:extLst>
              <a:ext uri="{FF2B5EF4-FFF2-40B4-BE49-F238E27FC236}">
                <a16:creationId xmlns:a16="http://schemas.microsoft.com/office/drawing/2014/main" id="{EFA210EE-0D66-2254-B324-EC2639A474A8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8550017" y="6031485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lon 4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4" name="Text Placeholder 21">
            <a:extLst>
              <a:ext uri="{FF2B5EF4-FFF2-40B4-BE49-F238E27FC236}">
                <a16:creationId xmlns:a16="http://schemas.microsoft.com/office/drawing/2014/main" id="{B7505A5E-1278-9002-D577-641AF87B02EC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8550017" y="6254395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lon 5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5" name="Text Placeholder 21">
            <a:extLst>
              <a:ext uri="{FF2B5EF4-FFF2-40B4-BE49-F238E27FC236}">
                <a16:creationId xmlns:a16="http://schemas.microsoft.com/office/drawing/2014/main" id="{64634C59-E853-1A94-491D-C5016694A672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8550017" y="6477305"/>
            <a:ext cx="1792468" cy="216000"/>
          </a:xfrm>
          <a:noFill/>
          <a:ln>
            <a:noFill/>
          </a:ln>
        </p:spPr>
        <p:txBody>
          <a:bodyPr lIns="72000" tIns="36000" rIns="72000" bIns="36000" anchor="ctr"/>
          <a:lstStyle>
            <a:lvl1pPr algn="ctr" rtl="0">
              <a:defRPr sz="10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Neutraface Text Book" panose="02000600030000020004" pitchFamily="50" charset="0"/>
              <a:buNone/>
              <a:tabLst/>
              <a:defRPr/>
            </a:pPr>
            <a:r>
              <a:rPr lang="en-US" sz="1000" b="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lon 6</a:t>
            </a:r>
            <a:endParaRPr lang="fr-FR" sz="10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6A218CBE-A845-4370-D3E3-405F9CCF0BC1}"/>
              </a:ext>
            </a:extLst>
          </p:cNvPr>
          <p:cNvSpPr>
            <a:spLocks noGrp="1"/>
          </p:cNvSpPr>
          <p:nvPr>
            <p:ph type="body" sz="quarter" idx="135"/>
          </p:nvPr>
        </p:nvSpPr>
        <p:spPr>
          <a:xfrm>
            <a:off x="350412" y="3564385"/>
            <a:ext cx="3739560" cy="2021280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0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endParaRPr lang="fr-FR" b="0" i="0" dirty="0">
              <a:solidFill>
                <a:srgbClr val="071A39"/>
              </a:solidFill>
              <a:effectLst/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353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E23DD3E-7564-EA4C-7263-8061ECF8B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0D1C81-E1AC-E0E2-9164-94A303D353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B3F2BFF-B4B5-104E-04F0-EFE1C25001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C5E4C8B-C08F-40D3-A0D6-A5DC80BE961D}" type="datetimeFigureOut">
              <a:rPr lang="fr-FR" smtClean="0"/>
              <a:t>15/12/2025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2F26805-3DD2-89E7-FC05-FDE5CDC273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DE01BAB-5AA7-99A4-A40F-5852D2F57B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DB834EF-62FD-431F-A10C-5C8ABE62AA8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8837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98CB683-CA23-4176-8103-05C4D0C93A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98CB683-CA23-4176-8103-05C4D0C93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Espace réservé du texte 40">
            <a:extLst>
              <a:ext uri="{FF2B5EF4-FFF2-40B4-BE49-F238E27FC236}">
                <a16:creationId xmlns:a16="http://schemas.microsoft.com/office/drawing/2014/main" id="{D4D05E95-B757-C1E1-F094-80B9C59FD20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2" name="Espace réservé du texte 41">
            <a:extLst>
              <a:ext uri="{FF2B5EF4-FFF2-40B4-BE49-F238E27FC236}">
                <a16:creationId xmlns:a16="http://schemas.microsoft.com/office/drawing/2014/main" id="{50A5DA67-C8B7-B459-3FD0-856A4221E9D9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43" name="Espace réservé du texte 42">
            <a:extLst>
              <a:ext uri="{FF2B5EF4-FFF2-40B4-BE49-F238E27FC236}">
                <a16:creationId xmlns:a16="http://schemas.microsoft.com/office/drawing/2014/main" id="{8090C577-40DF-93DE-1C5F-F679A61758EC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2742E61D-1C91-8B91-3A0B-AF64AF494571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45" name="Espace réservé du texte 44">
            <a:extLst>
              <a:ext uri="{FF2B5EF4-FFF2-40B4-BE49-F238E27FC236}">
                <a16:creationId xmlns:a16="http://schemas.microsoft.com/office/drawing/2014/main" id="{59074A9E-F9C1-ED5B-F549-C109D38F5213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46" name="Espace réservé du texte 45">
            <a:extLst>
              <a:ext uri="{FF2B5EF4-FFF2-40B4-BE49-F238E27FC236}">
                <a16:creationId xmlns:a16="http://schemas.microsoft.com/office/drawing/2014/main" id="{294FFC02-7AAE-6CF7-F2AB-8008A32E62CD}"/>
              </a:ext>
            </a:extLst>
          </p:cNvPr>
          <p:cNvSpPr>
            <a:spLocks noGrp="1"/>
          </p:cNvSpPr>
          <p:nvPr>
            <p:ph type="body" sz="quarter" idx="105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48" name="Espace réservé du texte 47">
            <a:extLst>
              <a:ext uri="{FF2B5EF4-FFF2-40B4-BE49-F238E27FC236}">
                <a16:creationId xmlns:a16="http://schemas.microsoft.com/office/drawing/2014/main" id="{960B9C9D-866C-CE4E-1A8C-8BD5E02BCB12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49" name="Espace réservé du texte 48">
            <a:extLst>
              <a:ext uri="{FF2B5EF4-FFF2-40B4-BE49-F238E27FC236}">
                <a16:creationId xmlns:a16="http://schemas.microsoft.com/office/drawing/2014/main" id="{1456A300-C112-A70F-75BC-DDE518C8BBCE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50" name="Espace réservé du texte 49">
            <a:extLst>
              <a:ext uri="{FF2B5EF4-FFF2-40B4-BE49-F238E27FC236}">
                <a16:creationId xmlns:a16="http://schemas.microsoft.com/office/drawing/2014/main" id="{15DBE9D1-0708-E579-4173-7C9576F3B878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51" name="Espace réservé du texte 50">
            <a:extLst>
              <a:ext uri="{FF2B5EF4-FFF2-40B4-BE49-F238E27FC236}">
                <a16:creationId xmlns:a16="http://schemas.microsoft.com/office/drawing/2014/main" id="{97AF64AA-3D44-DA6F-A636-D6965435F5C5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0CF8E6FF-23DB-7AC8-01CF-3A56FCF8801A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5" name="Espace réservé du texte 54">
            <a:extLst>
              <a:ext uri="{FF2B5EF4-FFF2-40B4-BE49-F238E27FC236}">
                <a16:creationId xmlns:a16="http://schemas.microsoft.com/office/drawing/2014/main" id="{FBE1EEA6-4020-35A4-E485-691AFC24A435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8478176" y="1491448"/>
            <a:ext cx="3549232" cy="1568744"/>
          </a:xfrm>
        </p:spPr>
        <p:txBody>
          <a:bodyPr/>
          <a:lstStyle/>
          <a:p>
            <a:endParaRPr lang="fr-FR" sz="1000" dirty="0"/>
          </a:p>
        </p:txBody>
      </p:sp>
      <p:sp>
        <p:nvSpPr>
          <p:cNvPr id="57" name="Espace réservé du texte 56">
            <a:extLst>
              <a:ext uri="{FF2B5EF4-FFF2-40B4-BE49-F238E27FC236}">
                <a16:creationId xmlns:a16="http://schemas.microsoft.com/office/drawing/2014/main" id="{E15FE0FE-94C5-56B2-330E-5BE799D01801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59" name="Espace réservé du texte 58">
            <a:extLst>
              <a:ext uri="{FF2B5EF4-FFF2-40B4-BE49-F238E27FC236}">
                <a16:creationId xmlns:a16="http://schemas.microsoft.com/office/drawing/2014/main" id="{D61C40C2-847C-6E59-49D9-FEB9F16FCF08}"/>
              </a:ext>
            </a:extLst>
          </p:cNvPr>
          <p:cNvSpPr>
            <a:spLocks noGrp="1"/>
          </p:cNvSpPr>
          <p:nvPr>
            <p:ph type="body" sz="quarter" idx="119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60" name="Espace réservé du texte 59">
            <a:extLst>
              <a:ext uri="{FF2B5EF4-FFF2-40B4-BE49-F238E27FC236}">
                <a16:creationId xmlns:a16="http://schemas.microsoft.com/office/drawing/2014/main" id="{4F092D1D-AEF1-F6C1-40C1-8498D31888BF}"/>
              </a:ext>
            </a:extLst>
          </p:cNvPr>
          <p:cNvSpPr>
            <a:spLocks noGrp="1"/>
          </p:cNvSpPr>
          <p:nvPr>
            <p:ph type="body" sz="quarter" idx="120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66" name="Espace réservé du texte 65">
            <a:extLst>
              <a:ext uri="{FF2B5EF4-FFF2-40B4-BE49-F238E27FC236}">
                <a16:creationId xmlns:a16="http://schemas.microsoft.com/office/drawing/2014/main" id="{F4476A9A-1DFE-A582-07DE-AE175E77E398}"/>
              </a:ext>
            </a:extLst>
          </p:cNvPr>
          <p:cNvSpPr>
            <a:spLocks noGrp="1"/>
          </p:cNvSpPr>
          <p:nvPr>
            <p:ph type="body" sz="quarter" idx="12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8" name="Espace réservé du texte 47">
            <a:extLst>
              <a:ext uri="{FF2B5EF4-FFF2-40B4-BE49-F238E27FC236}">
                <a16:creationId xmlns:a16="http://schemas.microsoft.com/office/drawing/2014/main" id="{0514A50E-89B8-52FC-6713-0A2A195FD063}"/>
              </a:ext>
            </a:extLst>
          </p:cNvPr>
          <p:cNvSpPr txBox="1">
            <a:spLocks/>
          </p:cNvSpPr>
          <p:nvPr/>
        </p:nvSpPr>
        <p:spPr>
          <a:xfrm>
            <a:off x="8488013" y="3467063"/>
            <a:ext cx="1034566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9" name="Espace réservé du texte 47">
            <a:extLst>
              <a:ext uri="{FF2B5EF4-FFF2-40B4-BE49-F238E27FC236}">
                <a16:creationId xmlns:a16="http://schemas.microsoft.com/office/drawing/2014/main" id="{334A81C1-314D-5FA2-B2F9-923C4D00A7F2}"/>
              </a:ext>
            </a:extLst>
          </p:cNvPr>
          <p:cNvSpPr txBox="1">
            <a:spLocks/>
          </p:cNvSpPr>
          <p:nvPr/>
        </p:nvSpPr>
        <p:spPr>
          <a:xfrm>
            <a:off x="8478176" y="3683876"/>
            <a:ext cx="1034566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10" name="Espace réservé du texte 47">
            <a:extLst>
              <a:ext uri="{FF2B5EF4-FFF2-40B4-BE49-F238E27FC236}">
                <a16:creationId xmlns:a16="http://schemas.microsoft.com/office/drawing/2014/main" id="{B48E84F3-1714-FC13-F39A-E50EA5F175D3}"/>
              </a:ext>
            </a:extLst>
          </p:cNvPr>
          <p:cNvSpPr txBox="1">
            <a:spLocks/>
          </p:cNvSpPr>
          <p:nvPr/>
        </p:nvSpPr>
        <p:spPr>
          <a:xfrm>
            <a:off x="8488013" y="3912232"/>
            <a:ext cx="1034566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11" name="Espace réservé du texte 47">
            <a:extLst>
              <a:ext uri="{FF2B5EF4-FFF2-40B4-BE49-F238E27FC236}">
                <a16:creationId xmlns:a16="http://schemas.microsoft.com/office/drawing/2014/main" id="{6F4E33AA-7726-32A1-4913-40FD54415A4E}"/>
              </a:ext>
            </a:extLst>
          </p:cNvPr>
          <p:cNvSpPr txBox="1">
            <a:spLocks/>
          </p:cNvSpPr>
          <p:nvPr/>
        </p:nvSpPr>
        <p:spPr>
          <a:xfrm>
            <a:off x="8478176" y="4141401"/>
            <a:ext cx="1034566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12" name="Espace réservé du texte 47">
            <a:extLst>
              <a:ext uri="{FF2B5EF4-FFF2-40B4-BE49-F238E27FC236}">
                <a16:creationId xmlns:a16="http://schemas.microsoft.com/office/drawing/2014/main" id="{EFDC8081-6D3A-8362-818A-DAF7374373C2}"/>
              </a:ext>
            </a:extLst>
          </p:cNvPr>
          <p:cNvSpPr txBox="1">
            <a:spLocks/>
          </p:cNvSpPr>
          <p:nvPr/>
        </p:nvSpPr>
        <p:spPr>
          <a:xfrm>
            <a:off x="8535488" y="5366552"/>
            <a:ext cx="1098640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13" name="Espace réservé du texte 47">
            <a:extLst>
              <a:ext uri="{FF2B5EF4-FFF2-40B4-BE49-F238E27FC236}">
                <a16:creationId xmlns:a16="http://schemas.microsoft.com/office/drawing/2014/main" id="{394CB70B-4DCC-A1BD-C0FF-38FEE92756EC}"/>
              </a:ext>
            </a:extLst>
          </p:cNvPr>
          <p:cNvSpPr txBox="1">
            <a:spLocks/>
          </p:cNvSpPr>
          <p:nvPr/>
        </p:nvSpPr>
        <p:spPr>
          <a:xfrm>
            <a:off x="8535488" y="5811721"/>
            <a:ext cx="1098640" cy="197911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 fontScale="92500"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14" name="Espace réservé du texte 47">
            <a:extLst>
              <a:ext uri="{FF2B5EF4-FFF2-40B4-BE49-F238E27FC236}">
                <a16:creationId xmlns:a16="http://schemas.microsoft.com/office/drawing/2014/main" id="{D2F478B4-EB53-FEF6-0356-F1E366A3AEEC}"/>
              </a:ext>
            </a:extLst>
          </p:cNvPr>
          <p:cNvSpPr txBox="1">
            <a:spLocks/>
          </p:cNvSpPr>
          <p:nvPr/>
        </p:nvSpPr>
        <p:spPr>
          <a:xfrm>
            <a:off x="8535488" y="6040890"/>
            <a:ext cx="1098640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15" name="Espace réservé du texte 47">
            <a:extLst>
              <a:ext uri="{FF2B5EF4-FFF2-40B4-BE49-F238E27FC236}">
                <a16:creationId xmlns:a16="http://schemas.microsoft.com/office/drawing/2014/main" id="{16161E49-3B17-EDD5-C009-41284683BDF3}"/>
              </a:ext>
            </a:extLst>
          </p:cNvPr>
          <p:cNvSpPr txBox="1">
            <a:spLocks/>
          </p:cNvSpPr>
          <p:nvPr/>
        </p:nvSpPr>
        <p:spPr>
          <a:xfrm>
            <a:off x="8535488" y="6290517"/>
            <a:ext cx="1098640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dirty="0"/>
          </a:p>
        </p:txBody>
      </p:sp>
      <p:sp>
        <p:nvSpPr>
          <p:cNvPr id="2" name="Espace réservé du texte 47">
            <a:extLst>
              <a:ext uri="{FF2B5EF4-FFF2-40B4-BE49-F238E27FC236}">
                <a16:creationId xmlns:a16="http://schemas.microsoft.com/office/drawing/2014/main" id="{7DDC7CB3-D053-A9E3-F189-C70762E7CAD3}"/>
              </a:ext>
            </a:extLst>
          </p:cNvPr>
          <p:cNvSpPr txBox="1">
            <a:spLocks/>
          </p:cNvSpPr>
          <p:nvPr/>
        </p:nvSpPr>
        <p:spPr>
          <a:xfrm>
            <a:off x="8535488" y="5589136"/>
            <a:ext cx="1098640" cy="216000"/>
          </a:xfrm>
          <a:prstGeom prst="rect">
            <a:avLst/>
          </a:prstGeom>
          <a:noFill/>
          <a:ln>
            <a:noFill/>
          </a:ln>
        </p:spPr>
        <p:txBody>
          <a:bodyPr vert="horz" lIns="72000" tIns="36000" rIns="72000" bIns="36000" rtlCol="0" anchor="ctr">
            <a:norm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0" b="1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5" name="Titre 39">
            <a:extLst>
              <a:ext uri="{FF2B5EF4-FFF2-40B4-BE49-F238E27FC236}">
                <a16:creationId xmlns:a16="http://schemas.microsoft.com/office/drawing/2014/main" id="{F517F365-C281-BEB7-1F6E-9B2BFF195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208" y="239195"/>
            <a:ext cx="3436697" cy="373453"/>
          </a:xfrm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2BBB5FC-AFA0-CB4E-6B0F-27643FC623DC}"/>
              </a:ext>
            </a:extLst>
          </p:cNvPr>
          <p:cNvSpPr txBox="1"/>
          <p:nvPr/>
        </p:nvSpPr>
        <p:spPr>
          <a:xfrm>
            <a:off x="2870208" y="715617"/>
            <a:ext cx="3436697" cy="417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3" name="Espace réservé du texte 56">
            <a:extLst>
              <a:ext uri="{FF2B5EF4-FFF2-40B4-BE49-F238E27FC236}">
                <a16:creationId xmlns:a16="http://schemas.microsoft.com/office/drawing/2014/main" id="{480A0391-CA5E-D0E8-2016-E26B9603E1AE}"/>
              </a:ext>
            </a:extLst>
          </p:cNvPr>
          <p:cNvSpPr txBox="1">
            <a:spLocks/>
          </p:cNvSpPr>
          <p:nvPr/>
        </p:nvSpPr>
        <p:spPr>
          <a:xfrm>
            <a:off x="379679" y="3564386"/>
            <a:ext cx="3739560" cy="201078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0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476410-1B3A-0BFF-DEC9-2B24388A5A1E}"/>
              </a:ext>
            </a:extLst>
          </p:cNvPr>
          <p:cNvSpPr/>
          <p:nvPr/>
        </p:nvSpPr>
        <p:spPr>
          <a:xfrm rot="2012313">
            <a:off x="11309035" y="455878"/>
            <a:ext cx="606863" cy="179623"/>
          </a:xfrm>
          <a:prstGeom prst="rect">
            <a:avLst/>
          </a:prstGeom>
          <a:solidFill>
            <a:srgbClr val="24A2AF"/>
          </a:solidFill>
          <a:ln>
            <a:solidFill>
              <a:srgbClr val="24A2AF"/>
            </a:solidFill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704814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bqaDZJkFRXVVOOq5Bl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</TotalTime>
  <Words>28</Words>
  <Application>Microsoft Office PowerPoint</Application>
  <PresentationFormat>Grand écran</PresentationFormat>
  <Paragraphs>6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0" baseType="lpstr">
      <vt:lpstr>Aptos</vt:lpstr>
      <vt:lpstr>Aptos Display</vt:lpstr>
      <vt:lpstr>Archer Bold</vt:lpstr>
      <vt:lpstr>Arial</vt:lpstr>
      <vt:lpstr>IBM Plex Sans</vt:lpstr>
      <vt:lpstr>Neutraface Text Book</vt:lpstr>
      <vt:lpstr>Wingdings</vt:lpstr>
      <vt:lpstr>Thème Office</vt:lpstr>
      <vt:lpstr>think-cell Slide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Data Platform 2023 PRIM210815</dc:title>
  <dc:creator>cyril.carpentier@data-major.com</dc:creator>
  <cp:lastModifiedBy>Jean-René DANIS</cp:lastModifiedBy>
  <cp:revision>16</cp:revision>
  <dcterms:created xsi:type="dcterms:W3CDTF">2024-03-06T15:12:38Z</dcterms:created>
  <dcterms:modified xsi:type="dcterms:W3CDTF">2025-12-15T11:22:56Z</dcterms:modified>
</cp:coreProperties>
</file>